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09"/>
    <p:restoredTop sz="96715"/>
  </p:normalViewPr>
  <p:slideViewPr>
    <p:cSldViewPr snapToGrid="0">
      <p:cViewPr varScale="1">
        <p:scale>
          <a:sx n="131" d="100"/>
          <a:sy n="131" d="100"/>
        </p:scale>
        <p:origin x="200" y="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A02E4F-94BF-348C-3574-98D21D1565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FE59775-6933-945D-BFC2-2FA1E4018C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346C950-634E-56C4-2AB4-0C613D3BB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BCFB322-A6D6-6A5D-FCF8-7DE29DB67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BC2A76-C472-3EE7-D181-478DC9CF9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27681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62CBA1-5BC6-41F5-0C77-06B549D46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7496485-775E-3CA6-EFCB-4C959CDCC5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F1FB923-D08F-191C-3A58-C8495881E3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B5F8E62-74A3-7A8C-788F-6C3DC38F8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892D5C-08CB-750C-B089-70F7EAB99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0563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9FD475B1-CFA2-AF63-D588-7A3D45F255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DD344D3-D4B4-F54C-7261-975CF35FEEF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6D4D903-D29B-E5FE-8820-CC69E6A4E6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DED8DFC-FA13-029E-331B-AF5288564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282FFFF-B724-ADD7-1664-53BC35416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03227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754EE8-F387-4079-E3C3-FBD910B4D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8F778F9-E7BC-4BAE-B1C9-9B16BF4E9D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5E4374D-C0BD-A406-D769-4759324F2D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F03C2E3-FFB7-BBF0-90BD-9EA184B54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0244592-3296-B50B-5E13-101FED612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26062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7B0DCC-1F39-8D8F-69CB-0729FEC62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C2F8949-B38C-FE71-05F1-E642187F1C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22523E1-7094-948A-9608-961BE7FA6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5C3BBF4-2E6F-A1B3-CF3D-D035AA7EF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F3F160-A4C6-42DD-E8B8-9F06AC425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6337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2190F7-560C-2D0F-414C-E5F09EDEC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92104C0-6105-2E26-D454-418EDC3EF2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CC99A36-DE7D-2277-028A-E560D32A60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7951037-C26B-2C54-A699-47C37CA0A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FAE2E42-3BC0-A191-887C-67A1BD0B71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4E2BE7B-B68E-EF1D-E366-FE465D9B8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2201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7FA46A-46EC-A01C-18D4-854976B6C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5A52FF6-2D40-D8B5-9B1A-E745A562B5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5932793-DA91-7F43-7A20-12E7331FA7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0DFF3BD-E4A0-734D-CB1D-FF78A4C993C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9621452-53A4-11C1-F2A6-66C48F36DE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433988CF-86AC-6A08-BD9D-CCE1B7346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0250872A-1387-7CA9-B4B9-BFC024E5D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383831F-C0BA-4446-2C81-D7D7BB781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68823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AEC9AB-64AE-BD5F-4613-923578FD5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FA6FAF2-E361-04C8-24B3-82C9CAD20C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F96AF8B-794A-4E05-3FA6-F11B59B1C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2B6EDC2-4E20-11CE-D1C5-A31AD71DB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5518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8730D52-B825-7581-1821-7DCAA5AD29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155A28A-C291-1867-21AD-AA61F99B2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A830F49-F400-65E7-92C8-8E5171BBC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2707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6DB2138-58CD-783B-6231-0950F9AE3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09DBC20-4243-BABA-1944-C54844091D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C940162-063B-C409-9915-689E229C5D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B241721-756B-2A02-D7D4-F0F7CEF7A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CD2678C-6E34-14E0-7711-55D4C231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C85F8A3-3F52-14B1-5B8D-94BB64B1B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2476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7F6BB4-ADB2-FB1C-06ED-5FFB27D55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95612A7-17BB-09A1-9D8F-0C6B6E6478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C9AFEEE-25B9-5435-A0D4-3FEB71DD6B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DBE3937-6D37-0367-27EE-42138FD92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54A44C4-B669-169C-D62F-F6130D876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84508A2-C657-0F4D-BE98-7A9CF98AF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8927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E3C2DAB9-0ACC-8C8D-A3BA-81CE21F501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30465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7772400" imgH="10058400" progId="TCLayout.ActiveDocument.1">
                  <p:embed/>
                </p:oleObj>
              </mc:Choice>
              <mc:Fallback>
                <p:oleObj name="Слайд think-cell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4023E2-F6A3-9CB6-4411-129BB0538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CC60D51-7372-ED15-C415-2AC993CF1C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B28F062-7927-F12C-907A-A70CF767DF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F2B7EB-C499-F741-A07E-9185714DB453}" type="datetimeFigureOut">
              <a:rPr lang="ru-RU" smtClean="0"/>
              <a:t>19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61E6B08-BB2E-B16A-C159-474DD65158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AEB33A6-7A36-6A73-0393-78E0C010D0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2AB77B-DB61-2542-A8A4-D630D6ED90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0291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31AC193-8EB2-69E0-31AC-AAC748BBAF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5604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3F1CF30-2C95-4B5D-BBCA-3253248709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487" y="-118317"/>
            <a:ext cx="11798474" cy="7094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837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Macintosh PowerPoint</Application>
  <PresentationFormat>Широкоэкранный</PresentationFormat>
  <Paragraphs>0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Тема Office</vt:lpstr>
      <vt:lpstr>Слайд think-cell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Microsoft Office User</cp:lastModifiedBy>
  <cp:revision>1</cp:revision>
  <dcterms:created xsi:type="dcterms:W3CDTF">2023-03-19T17:13:54Z</dcterms:created>
  <dcterms:modified xsi:type="dcterms:W3CDTF">2023-03-19T17:14:36Z</dcterms:modified>
</cp:coreProperties>
</file>